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5/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073091"/>
              </p:ext>
            </p:extLst>
          </p:nvPr>
        </p:nvGraphicFramePr>
        <p:xfrm>
          <a:off x="539749" y="1107029"/>
          <a:ext cx="11079991" cy="2785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内容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人员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参与人数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22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地点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客户数量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000" b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每条线索成本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222</a:t>
                      </a: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b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000" b="0" kern="12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1574511"/>
              </p:ext>
            </p:extLst>
          </p:nvPr>
        </p:nvGraphicFramePr>
        <p:xfrm>
          <a:off x="587372" y="4245295"/>
          <a:ext cx="11032368" cy="81049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aseline="0" dirty="0"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136119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:a16="http://schemas.microsoft.com/office/drawing/2014/main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:a16="http://schemas.microsoft.com/office/drawing/2014/main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:a16="http://schemas.microsoft.com/office/drawing/2014/main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:a16="http://schemas.microsoft.com/office/drawing/2014/main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:a16="http://schemas.microsoft.com/office/drawing/2014/main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:a16="http://schemas.microsoft.com/office/drawing/2014/main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:a16="http://schemas.microsoft.com/office/drawing/2014/main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:a16="http://schemas.microsoft.com/office/drawing/2014/main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:a16="http://schemas.microsoft.com/office/drawing/2014/main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000" baseline="0" dirty="0" smtClean="0"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0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0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0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000" b="1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1000" b="0" i="0" baseline="0" dirty="0"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sz="1000" b="0" i="0" baseline="0" dirty="0"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1000" b="0" i="0" baseline="0" dirty="0"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sz="1000" b="0" i="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8118957"/>
              </p:ext>
            </p:extLst>
          </p:nvPr>
        </p:nvGraphicFramePr>
        <p:xfrm>
          <a:off x="587141" y="1234463"/>
          <a:ext cx="11032602" cy="5111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000" b="0" i="0" kern="1200" dirty="0">
                        <a:solidFill>
                          <a:schemeClr val="lt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000" b="1" i="0" kern="1200" dirty="0">
                        <a:solidFill>
                          <a:schemeClr val="lt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000" b="1" i="0" kern="1200" dirty="0">
                        <a:solidFill>
                          <a:schemeClr val="lt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000" b="1" i="0" kern="1200" baseline="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000" b="1" i="0" kern="1200" dirty="0" smtClean="0">
                          <a:solidFill>
                            <a:schemeClr val="lt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000" b="1" i="0" kern="1200" dirty="0">
                        <a:solidFill>
                          <a:schemeClr val="lt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2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3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4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5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6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05124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7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44083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8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0085564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9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10</a:t>
                      </a: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i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latin typeface="Bentley Light" panose="020B0404020201020102"/>
                <a:ea typeface="黑体" panose="02010609060101010101" pitchFamily="49" charset="-122"/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latin typeface="Bentley Light" panose="020B0404020201020102"/>
                <a:ea typeface="黑体" panose="02010609060101010101" pitchFamily="49" charset="-122"/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6262457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Construction &amp; Displayed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Construction &amp; Displayed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hotography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Photography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345</Words>
  <Application>Microsoft Office PowerPoint</Application>
  <PresentationFormat>宽屏</PresentationFormat>
  <Paragraphs>109</Paragraphs>
  <Slides>8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9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61</cp:revision>
  <dcterms:created xsi:type="dcterms:W3CDTF">2022-02-15T07:41:51Z</dcterms:created>
  <dcterms:modified xsi:type="dcterms:W3CDTF">2022-05-05T02:28:30Z</dcterms:modified>
</cp:coreProperties>
</file>